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6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9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0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1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2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3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4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5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16.xml" ContentType="application/vnd.openxmlformats-officedocument.theme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67" r:id="rId2"/>
    <p:sldMasterId id="2147483821" r:id="rId3"/>
    <p:sldMasterId id="2147483884" r:id="rId4"/>
    <p:sldMasterId id="2147483896" r:id="rId5"/>
    <p:sldMasterId id="2147483908" r:id="rId6"/>
    <p:sldMasterId id="2147483920" r:id="rId7"/>
    <p:sldMasterId id="2147483933" r:id="rId8"/>
    <p:sldMasterId id="2147483936" r:id="rId9"/>
    <p:sldMasterId id="2147484057" r:id="rId10"/>
    <p:sldMasterId id="2147484124" r:id="rId11"/>
    <p:sldMasterId id="2147484136" r:id="rId12"/>
    <p:sldMasterId id="2147484148" r:id="rId13"/>
    <p:sldMasterId id="2147484160" r:id="rId14"/>
    <p:sldMasterId id="2147484382" r:id="rId15"/>
    <p:sldMasterId id="2147484448" r:id="rId16"/>
    <p:sldMasterId id="2147484514" r:id="rId17"/>
  </p:sldMasterIdLst>
  <p:notesMasterIdLst>
    <p:notesMasterId r:id="rId26"/>
  </p:notesMasterIdLst>
  <p:sldIdLst>
    <p:sldId id="575" r:id="rId18"/>
    <p:sldId id="571" r:id="rId19"/>
    <p:sldId id="572" r:id="rId20"/>
    <p:sldId id="573" r:id="rId21"/>
    <p:sldId id="561" r:id="rId22"/>
    <p:sldId id="574" r:id="rId23"/>
    <p:sldId id="569" r:id="rId24"/>
    <p:sldId id="568" r:id="rId2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99"/>
    <a:srgbClr val="000000"/>
    <a:srgbClr val="004077"/>
    <a:srgbClr val="075493"/>
    <a:srgbClr val="00385D"/>
    <a:srgbClr val="4BC7FF"/>
    <a:srgbClr val="B9E9FF"/>
    <a:srgbClr val="0000FF"/>
    <a:srgbClr val="808080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1600" autoAdjust="0"/>
  </p:normalViewPr>
  <p:slideViewPr>
    <p:cSldViewPr>
      <p:cViewPr varScale="1">
        <p:scale>
          <a:sx n="99" d="100"/>
          <a:sy n="99" d="100"/>
        </p:scale>
        <p:origin x="-1452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20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t>19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71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59067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:\Марина\Седова Н.Г\фон презинтации-3.ti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13"/>
          <a:stretch>
            <a:fillRect/>
          </a:stretch>
        </p:blipFill>
        <p:spPr bwMode="auto">
          <a:xfrm>
            <a:off x="0" y="3952875"/>
            <a:ext cx="9144000" cy="290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 rot="5400000">
            <a:off x="7947820" y="6133306"/>
            <a:ext cx="1439862" cy="31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 rot="10800000" flipH="1">
            <a:off x="-6350" y="6677025"/>
            <a:ext cx="9144000" cy="1588"/>
          </a:xfrm>
          <a:prstGeom prst="line">
            <a:avLst/>
          </a:prstGeom>
          <a:ln w="1270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 userDrawn="1"/>
        </p:nvCxnSpPr>
        <p:spPr>
          <a:xfrm>
            <a:off x="-15875" y="6586538"/>
            <a:ext cx="9180513" cy="1587"/>
          </a:xfrm>
          <a:prstGeom prst="line">
            <a:avLst/>
          </a:prstGeom>
          <a:ln w="9525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 rot="5400000">
            <a:off x="7880351" y="6132512"/>
            <a:ext cx="1441450" cy="3175"/>
          </a:xfrm>
          <a:prstGeom prst="line">
            <a:avLst/>
          </a:prstGeom>
          <a:ln w="476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2273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6D46A1-8B43-4112-83D4-E40F183DA32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087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1121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104589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0809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81494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798871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63745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98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1905068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8335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1169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46781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82292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6645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8647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13141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97706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4276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963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942109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61440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33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21716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67420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4878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6064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912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86107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9291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494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1191927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7756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019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4739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1824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2328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27500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995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29735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1293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3936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7271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51720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0337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5060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80736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6861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37002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34231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17801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56792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26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69163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2301278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89366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0644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3926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99159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7667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82957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37088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9990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19889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43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003984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2288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9175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7361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67487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6973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58052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08881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1436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66036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566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835170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83771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3658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5733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4927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9.10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1249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9736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39895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939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71076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15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007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6107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35507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05449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18297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68757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83255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83105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04333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65815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77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63758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29652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73748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79804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31978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31173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78016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8305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3683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0307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0904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358699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64054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22499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7471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34917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9651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85965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80173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338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519238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771605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68679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864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08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0253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73574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353752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8996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05176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9390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669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57840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189528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271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5686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016222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977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35893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8448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2986002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640056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384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152059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707850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3988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632908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68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126937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6965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1051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7183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8131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8435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94364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86421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73980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434583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156406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774029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504335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89833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950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08013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0570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824564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095138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9428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31815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23435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078733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4984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015047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220658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102992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44075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836190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10316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43" y="4797446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9602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52511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420210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381482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469461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38942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874962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414376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68940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61303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76973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74503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03510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515904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69180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396661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372037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456159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348890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617660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8651744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41858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9111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3" Type="http://schemas.openxmlformats.org/officeDocument/2006/relationships/slideLayout" Target="../slideLayouts/slideLayout249.xml"/><Relationship Id="rId7" Type="http://schemas.openxmlformats.org/officeDocument/2006/relationships/slideLayout" Target="../slideLayouts/slideLayout25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91.xml"/><Relationship Id="rId47" Type="http://schemas.openxmlformats.org/officeDocument/2006/relationships/slideLayout" Target="../slideLayouts/slideLayout96.xml"/><Relationship Id="rId50" Type="http://schemas.openxmlformats.org/officeDocument/2006/relationships/slideLayout" Target="../slideLayouts/slideLayout99.xml"/><Relationship Id="rId55" Type="http://schemas.openxmlformats.org/officeDocument/2006/relationships/vmlDrawing" Target="../drawings/vmlDrawing2.v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46" Type="http://schemas.openxmlformats.org/officeDocument/2006/relationships/slideLayout" Target="../slideLayouts/slideLayout95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0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4.xml"/><Relationship Id="rId53" Type="http://schemas.openxmlformats.org/officeDocument/2006/relationships/slideLayout" Target="../slideLayouts/slideLayout102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slideLayout" Target="../slideLayouts/slideLayout9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52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slideLayout" Target="../slideLayouts/slideLayout92.xml"/><Relationship Id="rId48" Type="http://schemas.openxmlformats.org/officeDocument/2006/relationships/slideLayout" Target="../slideLayouts/slideLayout97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57.xml"/><Relationship Id="rId51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5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98193677"/>
              </p:ext>
            </p:extLst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91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93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2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484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996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  <p:sldLayoutId id="21474841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140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91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1" r:id="rId3"/>
    <p:sldLayoutId id="2147484452" r:id="rId4"/>
    <p:sldLayoutId id="2147484453" r:id="rId5"/>
    <p:sldLayoutId id="2147484454" r:id="rId6"/>
    <p:sldLayoutId id="2147484455" r:id="rId7"/>
    <p:sldLayoutId id="2147484456" r:id="rId8"/>
    <p:sldLayoutId id="2147484457" r:id="rId9"/>
    <p:sldLayoutId id="2147484458" r:id="rId10"/>
    <p:sldLayoutId id="21474844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43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  <p:sldLayoutId id="214748452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6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0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047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  <p:sldLayoutId id="2147483796" r:id="rId28"/>
    <p:sldLayoutId id="2147483797" r:id="rId29"/>
    <p:sldLayoutId id="2147483798" r:id="rId30"/>
    <p:sldLayoutId id="2147483799" r:id="rId31"/>
    <p:sldLayoutId id="2147483800" r:id="rId32"/>
    <p:sldLayoutId id="2147483801" r:id="rId33"/>
    <p:sldLayoutId id="2147483802" r:id="rId34"/>
    <p:sldLayoutId id="2147483803" r:id="rId35"/>
    <p:sldLayoutId id="2147483804" r:id="rId36"/>
    <p:sldLayoutId id="2147483805" r:id="rId37"/>
    <p:sldLayoutId id="2147483806" r:id="rId38"/>
    <p:sldLayoutId id="2147483807" r:id="rId39"/>
    <p:sldLayoutId id="2147483808" r:id="rId40"/>
    <p:sldLayoutId id="2147483809" r:id="rId41"/>
    <p:sldLayoutId id="2147483810" r:id="rId42"/>
    <p:sldLayoutId id="2147483811" r:id="rId43"/>
    <p:sldLayoutId id="2147483812" r:id="rId44"/>
    <p:sldLayoutId id="2147483813" r:id="rId45"/>
    <p:sldLayoutId id="2147483814" r:id="rId46"/>
    <p:sldLayoutId id="2147483815" r:id="rId47"/>
    <p:sldLayoutId id="2147483816" r:id="rId48"/>
    <p:sldLayoutId id="2147483817" r:id="rId49"/>
    <p:sldLayoutId id="2147483818" r:id="rId50"/>
    <p:sldLayoutId id="2147483819" r:id="rId51"/>
    <p:sldLayoutId id="2147483820" r:id="rId52"/>
    <p:sldLayoutId id="2147483935" r:id="rId5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59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4687" y="2158172"/>
            <a:ext cx="8693150" cy="1477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Обязательная информация,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представляемая в презентации на заседании 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рабочей группы по рассмотрению результатов 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этапов работ</a:t>
            </a:r>
            <a:endParaRPr lang="ru-RU" altLang="ru-RU" sz="20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2511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2234" y="1695050"/>
            <a:ext cx="8693150" cy="1477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ИР (ОКР</a:t>
            </a: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«</a:t>
            </a:r>
            <a:r>
              <a:rPr lang="ru-RU" altLang="ru-RU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</a:t>
            </a:r>
            <a:r>
              <a:rPr lang="ru-RU" altLang="ru-RU" sz="20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аименование темы</a:t>
            </a: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»</a:t>
            </a:r>
            <a:endParaRPr lang="ru-RU" altLang="ru-RU" sz="20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Шифр темы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Этап № (наименование этапа, если есть)</a:t>
            </a:r>
            <a:endParaRPr lang="ru-RU" altLang="ru-RU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09" y="3501008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dirty="0">
                <a:solidFill>
                  <a:schemeClr val="tx2"/>
                </a:solidFill>
              </a:rPr>
              <a:t>Государственный контракт № </a:t>
            </a:r>
            <a:r>
              <a:rPr lang="ru-RU" altLang="ru-RU" dirty="0" smtClean="0">
                <a:solidFill>
                  <a:schemeClr val="tx2"/>
                </a:solidFill>
              </a:rPr>
              <a:t>……………………… </a:t>
            </a:r>
            <a:r>
              <a:rPr lang="ru-RU" altLang="ru-RU" dirty="0">
                <a:solidFill>
                  <a:schemeClr val="tx2"/>
                </a:solidFill>
              </a:rPr>
              <a:t>от </a:t>
            </a:r>
            <a:r>
              <a:rPr lang="ru-RU" altLang="ru-RU" dirty="0" smtClean="0">
                <a:solidFill>
                  <a:schemeClr val="tx2"/>
                </a:solidFill>
              </a:rPr>
              <a:t>…………………..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596" y="4581128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dirty="0" smtClean="0">
                <a:solidFill>
                  <a:schemeClr val="tx2"/>
                </a:solidFill>
              </a:rPr>
              <a:t>Докладчик: руководитель работы  - должность, Ф.И.О.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cap="none" dirty="0" smtClean="0"/>
              <a:t>Название организации</a:t>
            </a:r>
            <a:endParaRPr lang="ru-RU" cap="none" dirty="0"/>
          </a:p>
        </p:txBody>
      </p:sp>
      <p:sp>
        <p:nvSpPr>
          <p:cNvPr id="10" name="TextBox 9"/>
          <p:cNvSpPr txBox="1"/>
          <p:nvPr/>
        </p:nvSpPr>
        <p:spPr>
          <a:xfrm>
            <a:off x="3347864" y="6309320"/>
            <a:ext cx="2448272" cy="27658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rgbClr val="000000"/>
                </a:solidFill>
              </a:rPr>
              <a:t>месяц год</a:t>
            </a:r>
          </a:p>
        </p:txBody>
      </p:sp>
    </p:spTree>
    <p:extLst>
      <p:ext uri="{BB962C8B-B14F-4D97-AF65-F5344CB8AC3E}">
        <p14:creationId xmlns:p14="http://schemas.microsoft.com/office/powerpoint/2010/main" val="5616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260562" y="1556792"/>
            <a:ext cx="867645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dirty="0">
                <a:solidFill>
                  <a:schemeClr val="tx2"/>
                </a:solidFill>
              </a:rPr>
              <a:t>Головной исполнитель  -  </a:t>
            </a:r>
            <a:r>
              <a:rPr lang="ru-RU" altLang="ru-RU" sz="1600" dirty="0" smtClean="0">
                <a:solidFill>
                  <a:schemeClr val="tx2"/>
                </a:solidFill>
              </a:rPr>
              <a:t>………………………………………….</a:t>
            </a:r>
            <a:endParaRPr lang="ru-RU" altLang="ru-RU" sz="1600" dirty="0">
              <a:solidFill>
                <a:schemeClr val="tx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7797" y="2276872"/>
            <a:ext cx="8630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b="1" dirty="0">
                <a:solidFill>
                  <a:schemeClr val="tx2"/>
                </a:solidFill>
              </a:rPr>
              <a:t>Соисполнители</a:t>
            </a:r>
            <a:r>
              <a:rPr lang="ru-RU" altLang="ru-RU" sz="1600" dirty="0" smtClean="0">
                <a:solidFill>
                  <a:schemeClr val="tx2"/>
                </a:solidFill>
              </a:rPr>
              <a:t>:</a:t>
            </a:r>
            <a:r>
              <a:rPr lang="ru-RU" altLang="ru-RU" sz="1600" dirty="0" smtClean="0"/>
              <a:t>  …………………………………………………..</a:t>
            </a:r>
            <a:endParaRPr lang="ru-RU" sz="1600" dirty="0"/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295782" y="3140968"/>
            <a:ext cx="799941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dirty="0">
                <a:solidFill>
                  <a:schemeClr val="tx2"/>
                </a:solidFill>
              </a:rPr>
              <a:t>Сроки </a:t>
            </a:r>
            <a:r>
              <a:rPr lang="ru-RU" altLang="ru-RU" sz="1600" dirty="0" smtClean="0">
                <a:solidFill>
                  <a:schemeClr val="tx2"/>
                </a:solidFill>
              </a:rPr>
              <a:t>выполнения:    </a:t>
            </a:r>
            <a:r>
              <a:rPr lang="ru-RU" altLang="ru-RU" sz="1600" b="0" dirty="0" smtClean="0">
                <a:solidFill>
                  <a:schemeClr val="tx2"/>
                </a:solidFill>
              </a:rPr>
              <a:t>месяц год </a:t>
            </a:r>
            <a:r>
              <a:rPr lang="ru-RU" altLang="ru-RU" sz="1600" b="0" dirty="0">
                <a:solidFill>
                  <a:schemeClr val="tx2"/>
                </a:solidFill>
              </a:rPr>
              <a:t>– </a:t>
            </a:r>
            <a:r>
              <a:rPr lang="ru-RU" altLang="ru-RU" sz="1600" b="0" dirty="0" smtClean="0">
                <a:solidFill>
                  <a:schemeClr val="tx2"/>
                </a:solidFill>
              </a:rPr>
              <a:t>месяц год </a:t>
            </a:r>
            <a:endParaRPr lang="ru-RU" altLang="ru-RU" sz="1600" b="0" dirty="0">
              <a:solidFill>
                <a:schemeClr val="tx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5782" y="4077072"/>
            <a:ext cx="8450545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altLang="ru-RU" sz="1600" b="1" dirty="0">
                <a:solidFill>
                  <a:schemeClr val="tx2"/>
                </a:solidFill>
                <a:latin typeface="Arial" charset="0"/>
              </a:rPr>
              <a:t>Объем финансирования </a:t>
            </a:r>
            <a:r>
              <a:rPr lang="ru-RU" altLang="ru-RU" sz="1600" b="1" dirty="0" smtClean="0">
                <a:solidFill>
                  <a:schemeClr val="tx2"/>
                </a:solidFill>
                <a:latin typeface="Arial" charset="0"/>
              </a:rPr>
              <a:t>(федеральный бюджет) </a:t>
            </a:r>
            <a:r>
              <a:rPr lang="ru-RU" altLang="ru-RU" dirty="0">
                <a:solidFill>
                  <a:schemeClr val="tx2"/>
                </a:solidFill>
              </a:rPr>
              <a:t>– </a:t>
            </a:r>
            <a:r>
              <a:rPr lang="ru-RU" altLang="ru-RU" dirty="0" smtClean="0">
                <a:solidFill>
                  <a:srgbClr val="000000"/>
                </a:solidFill>
              </a:rPr>
              <a:t>……. </a:t>
            </a:r>
            <a:r>
              <a:rPr lang="ru-RU" altLang="ru-RU" dirty="0">
                <a:solidFill>
                  <a:srgbClr val="000000"/>
                </a:solidFill>
              </a:rPr>
              <a:t>млн </a:t>
            </a:r>
            <a:r>
              <a:rPr lang="ru-RU" altLang="ru-RU" dirty="0" smtClean="0">
                <a:solidFill>
                  <a:srgbClr val="000000"/>
                </a:solidFill>
              </a:rPr>
              <a:t>руб.</a:t>
            </a:r>
            <a:endParaRPr lang="ru-RU" altLang="ru-RU" dirty="0">
              <a:solidFill>
                <a:srgbClr val="000000"/>
              </a:solidFill>
            </a:endParaRPr>
          </a:p>
          <a:p>
            <a:pPr>
              <a:spcBef>
                <a:spcPts val="300"/>
              </a:spcBef>
            </a:pPr>
            <a:r>
              <a:rPr lang="ru-RU" altLang="ru-RU" sz="1600" b="1" dirty="0">
                <a:solidFill>
                  <a:schemeClr val="tx2"/>
                </a:solidFill>
                <a:latin typeface="Arial" charset="0"/>
              </a:rPr>
              <a:t>Внебюджетное финансирование </a:t>
            </a:r>
            <a:r>
              <a:rPr lang="ru-RU" altLang="ru-RU" dirty="0">
                <a:solidFill>
                  <a:srgbClr val="000000"/>
                </a:solidFill>
              </a:rPr>
              <a:t>–</a:t>
            </a:r>
            <a:r>
              <a:rPr lang="ru-RU" altLang="ru-RU" dirty="0" smtClean="0">
                <a:solidFill>
                  <a:srgbClr val="000000"/>
                </a:solidFill>
              </a:rPr>
              <a:t> ……млн руб.</a:t>
            </a:r>
            <a:endParaRPr lang="ru-RU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93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251520" y="2780928"/>
            <a:ext cx="8640960" cy="123110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Перечисляются задачи, согласно ТЗ.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П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и большом количестве задач, указываются только самые главные;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…………;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…………………</a:t>
            </a:r>
            <a:endParaRPr lang="ru-RU" sz="12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251520" y="1296543"/>
            <a:ext cx="864096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ЦЕЛЬ РАБОТ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1688758"/>
            <a:ext cx="8640960" cy="6001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Указывается цель работы, согласно ТЗ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  <a:p>
            <a:pPr algn="ctr">
              <a:spcAft>
                <a:spcPts val="600"/>
              </a:spcAft>
            </a:pPr>
            <a:endParaRPr lang="ru-RU" sz="12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251520" y="2219816"/>
            <a:ext cx="864096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СНОВНЫЕ ЗАДАЧИ ЭТАПА: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51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95941" y="1196752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СНОВНЫЕ ПРАКТИЧЕСКИЕ РЕЗУЛЬТАТЫ 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0342" y="1611087"/>
            <a:ext cx="8568952" cy="180049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C00000"/>
              </a:buClr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Дается </a:t>
            </a:r>
            <a:r>
              <a:rPr lang="ru-RU" sz="1600" u="sng" dirty="0" smtClean="0">
                <a:solidFill>
                  <a:schemeClr val="tx2"/>
                </a:solidFill>
                <a:latin typeface="Arial" charset="0"/>
              </a:rPr>
              <a:t>описание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ru-RU" sz="1600" u="sng" dirty="0" smtClean="0">
                <a:solidFill>
                  <a:schemeClr val="tx2"/>
                </a:solidFill>
                <a:latin typeface="Arial" charset="0"/>
              </a:rPr>
              <a:t>главных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 результатов этапа работ, соответствующих цели работы и имеющих практическое применение. </a:t>
            </a:r>
          </a:p>
          <a:p>
            <a:pPr algn="just">
              <a:spcAft>
                <a:spcPts val="600"/>
              </a:spcAft>
              <a:buClr>
                <a:srgbClr val="C00000"/>
              </a:buClr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язательны иллюстрации,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демонстрирующие результаты (опытные образцы, макеты и т.д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.).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При наличии только отчетов – фотографии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титульных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листов о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тчетов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!</a:t>
            </a:r>
          </a:p>
          <a:p>
            <a:pPr algn="just">
              <a:spcAft>
                <a:spcPts val="600"/>
              </a:spcAft>
              <a:buClr>
                <a:srgbClr val="C00000"/>
              </a:buClr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Информация по результатам может занимать несколько слайдов</a:t>
            </a:r>
          </a:p>
          <a:p>
            <a:pPr algn="just">
              <a:spcAft>
                <a:spcPts val="600"/>
              </a:spcAft>
              <a:buClr>
                <a:srgbClr val="C00000"/>
              </a:buClr>
            </a:pP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0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/>
              <a:t>НИР (ОКР) «……………………….»</a:t>
            </a:r>
          </a:p>
        </p:txBody>
      </p:sp>
    </p:spTree>
    <p:extLst>
      <p:ext uri="{BB962C8B-B14F-4D97-AF65-F5344CB8AC3E}">
        <p14:creationId xmlns:p14="http://schemas.microsoft.com/office/powerpoint/2010/main" val="212101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296543"/>
            <a:ext cx="8568952" cy="187743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РЕЗУЛЬТАТЫ НАУЧНО-ТЕХНИЧЕСКОЙ ДЕЯТЕЛЬНОСТИ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Указываются все РНТД, полученные в рамках реализации темы: изобретение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, полезная модель, промышленные образцы, программа для ЭВМ, база данных, секреты производства (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ноу-хау)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ядом с названием РНТД в скобках указывается правообладатель и стадия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формления документов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.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3466" y="4293095"/>
            <a:ext cx="8568952" cy="6617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БЛАСТЬ ПРИМЕНЕНИЯ И ПОТЕНЦИАЛЬНЫЕ ПОТРЕБИТЕЛИ РЕЗУЛЬТАТОВ</a:t>
            </a:r>
          </a:p>
          <a:p>
            <a:pPr lvl="0" algn="ctr">
              <a:spcBef>
                <a:spcPts val="600"/>
              </a:spcBef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Перспективы внедрения (для заключительного этапа)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23067" y="4954815"/>
            <a:ext cx="863256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tx2"/>
                </a:solidFill>
                <a:latin typeface="Arial" charset="0"/>
              </a:rPr>
              <a:t>Состояние внедрения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езультатов темы (в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разработку или технологию более высокого уровня, типы (проекты) судов или другой морской техники, предприятие, реализующее внедрение, год, трансфер технологии в другую отрасль или вид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техники, причина не реализации). Потенциальные потребители указываются как можно более конкретные. Возможность замещения импорта.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27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9321" y="1628800"/>
            <a:ext cx="8712878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 algn="just">
              <a:spcBef>
                <a:spcPts val="3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Arial" charset="0"/>
              </a:rPr>
              <a:t>Перечисляются отчетные материал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7374" y="5733256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C00000"/>
              </a:buClr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Вывод: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ТЗ выполнено в полном объеме, результаты соответствуют требованиям ТЗ</a:t>
            </a: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/>
              <a:t>НИР (ОКР) «……………………….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3247" y="1196752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ТЧЕТНЫЕ МАТЕРИАЛЫ</a:t>
            </a:r>
          </a:p>
        </p:txBody>
      </p:sp>
    </p:spTree>
    <p:extLst>
      <p:ext uri="{BB962C8B-B14F-4D97-AF65-F5344CB8AC3E}">
        <p14:creationId xmlns:p14="http://schemas.microsoft.com/office/powerpoint/2010/main" val="355481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0071694"/>
              </p:ext>
            </p:extLst>
          </p:nvPr>
        </p:nvGraphicFramePr>
        <p:xfrm>
          <a:off x="251520" y="1267988"/>
          <a:ext cx="8678863" cy="23991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673475"/>
                <a:gridCol w="5005388"/>
              </a:tblGrid>
              <a:tr h="16027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Наименование и содержание этапа работы, стоимость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39" marR="9143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Результаты выполнения этапа (в соответствии с реализованными в рамках этапа работами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39" marR="91439" anchor="ctr" horzOverflow="overflow"/>
                </a:tc>
              </a:tr>
              <a:tr h="8507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№. Наименование этапа (если есть)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держание этапа работы согласно ТЗ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39" marR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жно быть явно представлено соотнесение работы, выполненной в рамках этапа и полученного результата (напротив работы (или группы работ) – результат).</a:t>
                      </a:r>
                    </a:p>
                  </a:txBody>
                  <a:tcPr marL="91439" marR="91439" horzOverflow="overflow"/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.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39" marR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 ...</a:t>
                      </a:r>
                    </a:p>
                  </a:txBody>
                  <a:tcPr marL="91439" marR="91439" horzOverflow="overflow"/>
                </a:tc>
              </a:tr>
              <a:tr h="5040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.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39" marR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….</a:t>
                      </a:r>
                    </a:p>
                  </a:txBody>
                  <a:tcPr marL="91439" marR="91439" horzOverflow="overflow"/>
                </a:tc>
              </a:tr>
            </a:tbl>
          </a:graphicData>
        </a:graphic>
      </p:graphicFrame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/>
              <a:t>НИР (ОКР) «……………………….»</a:t>
            </a:r>
          </a:p>
        </p:txBody>
      </p:sp>
    </p:spTree>
    <p:extLst>
      <p:ext uri="{BB962C8B-B14F-4D97-AF65-F5344CB8AC3E}">
        <p14:creationId xmlns:p14="http://schemas.microsoft.com/office/powerpoint/2010/main" val="3318401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10.xml><?xml version="1.0" encoding="utf-8"?>
<a:theme xmlns:a="http://schemas.openxmlformats.org/drawingml/2006/main" name="7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2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894</TotalTime>
  <Words>397</Words>
  <Application>Microsoft Office PowerPoint</Application>
  <PresentationFormat>Экран (4:3)</PresentationFormat>
  <Paragraphs>50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6" baseType="lpstr">
      <vt:lpstr>11_gpn_report</vt:lpstr>
      <vt:lpstr>12_gpn_report</vt:lpstr>
      <vt:lpstr>Специальное оформление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6_Специальное оформление</vt:lpstr>
      <vt:lpstr>7_Специальное оформление</vt:lpstr>
      <vt:lpstr>8_Специальное оформление</vt:lpstr>
      <vt:lpstr>9_Специальное оформление</vt:lpstr>
      <vt:lpstr>10_Специальное оформление</vt:lpstr>
      <vt:lpstr>11_Специальное оформление</vt:lpstr>
      <vt:lpstr>12_Специальное оформление</vt:lpstr>
      <vt:lpstr>13_Специальное оформление</vt:lpstr>
      <vt:lpstr>14_Специальное оформление</vt:lpstr>
      <vt:lpstr>think-cell Slide</vt:lpstr>
      <vt:lpstr>Презентация PowerPoint</vt:lpstr>
      <vt:lpstr>Название организации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Марина</cp:lastModifiedBy>
  <cp:revision>412</cp:revision>
  <cp:lastPrinted>2016-07-26T07:23:50Z</cp:lastPrinted>
  <dcterms:created xsi:type="dcterms:W3CDTF">2016-02-27T11:59:56Z</dcterms:created>
  <dcterms:modified xsi:type="dcterms:W3CDTF">2017-10-19T10:01:14Z</dcterms:modified>
</cp:coreProperties>
</file>